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7F2E7-E5E1-8BB7-FDB2-61583AAE6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CD7459-7389-8804-4A59-54A898D674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CD7459-7389-8804-4A59-54A898D67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1BE0BC-BF25-9197-F6DB-56585F404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D742F8-DA91-D89C-9AF8-06C29D153F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8ABF80-70B7-A3B7-0431-036420C65405}"/>
              </a:ext>
            </a:extLst>
          </p:cNvPr>
          <p:cNvGrpSpPr/>
          <p:nvPr/>
        </p:nvGrpSpPr>
        <p:grpSpPr>
          <a:xfrm>
            <a:off x="3737856" y="1461667"/>
            <a:ext cx="4438496" cy="4273716"/>
            <a:chOff x="3876752" y="2028826"/>
            <a:chExt cx="4438496" cy="4273716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DA566A97-6343-FF69-C607-CE50A413F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747" y="4722764"/>
              <a:ext cx="2347748" cy="1579778"/>
            </a:xfrm>
            <a:custGeom>
              <a:avLst/>
              <a:gdLst>
                <a:gd name="T0" fmla="*/ 550 w 758"/>
                <a:gd name="T1" fmla="*/ 94 h 510"/>
                <a:gd name="T2" fmla="*/ 550 w 758"/>
                <a:gd name="T3" fmla="*/ 94 h 510"/>
                <a:gd name="T4" fmla="*/ 344 w 758"/>
                <a:gd name="T5" fmla="*/ 0 h 510"/>
                <a:gd name="T6" fmla="*/ 345 w 758"/>
                <a:gd name="T7" fmla="*/ 117 h 510"/>
                <a:gd name="T8" fmla="*/ 243 w 758"/>
                <a:gd name="T9" fmla="*/ 251 h 510"/>
                <a:gd name="T10" fmla="*/ 133 w 758"/>
                <a:gd name="T11" fmla="*/ 281 h 510"/>
                <a:gd name="T12" fmla="*/ 0 w 758"/>
                <a:gd name="T13" fmla="*/ 236 h 510"/>
                <a:gd name="T14" fmla="*/ 547 w 758"/>
                <a:gd name="T15" fmla="*/ 510 h 510"/>
                <a:gd name="T16" fmla="*/ 550 w 758"/>
                <a:gd name="T17" fmla="*/ 510 h 510"/>
                <a:gd name="T18" fmla="*/ 758 w 758"/>
                <a:gd name="T19" fmla="*/ 302 h 510"/>
                <a:gd name="T20" fmla="*/ 550 w 758"/>
                <a:gd name="T21" fmla="*/ 9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10">
                  <a:moveTo>
                    <a:pt x="550" y="94"/>
                  </a:moveTo>
                  <a:cubicBezTo>
                    <a:pt x="550" y="94"/>
                    <a:pt x="550" y="94"/>
                    <a:pt x="550" y="94"/>
                  </a:cubicBezTo>
                  <a:cubicBezTo>
                    <a:pt x="468" y="94"/>
                    <a:pt x="394" y="57"/>
                    <a:pt x="344" y="0"/>
                  </a:cubicBezTo>
                  <a:cubicBezTo>
                    <a:pt x="355" y="38"/>
                    <a:pt x="355" y="78"/>
                    <a:pt x="345" y="117"/>
                  </a:cubicBezTo>
                  <a:cubicBezTo>
                    <a:pt x="330" y="174"/>
                    <a:pt x="294" y="222"/>
                    <a:pt x="243" y="251"/>
                  </a:cubicBezTo>
                  <a:cubicBezTo>
                    <a:pt x="209" y="271"/>
                    <a:pt x="171" y="281"/>
                    <a:pt x="133" y="281"/>
                  </a:cubicBezTo>
                  <a:cubicBezTo>
                    <a:pt x="84" y="281"/>
                    <a:pt x="38" y="265"/>
                    <a:pt x="0" y="236"/>
                  </a:cubicBezTo>
                  <a:cubicBezTo>
                    <a:pt x="126" y="402"/>
                    <a:pt x="324" y="509"/>
                    <a:pt x="547" y="510"/>
                  </a:cubicBezTo>
                  <a:cubicBezTo>
                    <a:pt x="550" y="510"/>
                    <a:pt x="550" y="510"/>
                    <a:pt x="550" y="510"/>
                  </a:cubicBezTo>
                  <a:cubicBezTo>
                    <a:pt x="665" y="510"/>
                    <a:pt x="758" y="417"/>
                    <a:pt x="758" y="302"/>
                  </a:cubicBezTo>
                  <a:cubicBezTo>
                    <a:pt x="758" y="187"/>
                    <a:pt x="665" y="94"/>
                    <a:pt x="550" y="9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b="1"/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924DCC69-F0A6-6D78-A0B6-BBF170998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324" y="2681902"/>
              <a:ext cx="1662924" cy="2303907"/>
            </a:xfrm>
            <a:custGeom>
              <a:avLst/>
              <a:gdLst>
                <a:gd name="T0" fmla="*/ 57 w 537"/>
                <a:gd name="T1" fmla="*/ 342 h 744"/>
                <a:gd name="T2" fmla="*/ 80 w 537"/>
                <a:gd name="T3" fmla="*/ 566 h 744"/>
                <a:gd name="T4" fmla="*/ 239 w 537"/>
                <a:gd name="T5" fmla="*/ 498 h 744"/>
                <a:gd name="T6" fmla="*/ 348 w 537"/>
                <a:gd name="T7" fmla="*/ 527 h 744"/>
                <a:gd name="T8" fmla="*/ 451 w 537"/>
                <a:gd name="T9" fmla="*/ 660 h 744"/>
                <a:gd name="T10" fmla="*/ 457 w 537"/>
                <a:gd name="T11" fmla="*/ 744 h 744"/>
                <a:gd name="T12" fmla="*/ 419 w 537"/>
                <a:gd name="T13" fmla="*/ 136 h 744"/>
                <a:gd name="T14" fmla="*/ 417 w 537"/>
                <a:gd name="T15" fmla="*/ 133 h 744"/>
                <a:gd name="T16" fmla="*/ 133 w 537"/>
                <a:gd name="T17" fmla="*/ 58 h 744"/>
                <a:gd name="T18" fmla="*/ 57 w 537"/>
                <a:gd name="T19" fmla="*/ 341 h 744"/>
                <a:gd name="T20" fmla="*/ 57 w 537"/>
                <a:gd name="T21" fmla="*/ 34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7" h="744">
                  <a:moveTo>
                    <a:pt x="57" y="342"/>
                  </a:moveTo>
                  <a:cubicBezTo>
                    <a:pt x="98" y="413"/>
                    <a:pt x="104" y="494"/>
                    <a:pt x="80" y="566"/>
                  </a:cubicBezTo>
                  <a:cubicBezTo>
                    <a:pt x="121" y="523"/>
                    <a:pt x="178" y="498"/>
                    <a:pt x="239" y="498"/>
                  </a:cubicBezTo>
                  <a:cubicBezTo>
                    <a:pt x="277" y="498"/>
                    <a:pt x="315" y="508"/>
                    <a:pt x="348" y="527"/>
                  </a:cubicBezTo>
                  <a:cubicBezTo>
                    <a:pt x="399" y="556"/>
                    <a:pt x="435" y="604"/>
                    <a:pt x="451" y="660"/>
                  </a:cubicBezTo>
                  <a:cubicBezTo>
                    <a:pt x="458" y="688"/>
                    <a:pt x="460" y="717"/>
                    <a:pt x="457" y="744"/>
                  </a:cubicBezTo>
                  <a:cubicBezTo>
                    <a:pt x="537" y="553"/>
                    <a:pt x="530" y="329"/>
                    <a:pt x="419" y="136"/>
                  </a:cubicBezTo>
                  <a:cubicBezTo>
                    <a:pt x="417" y="133"/>
                    <a:pt x="417" y="133"/>
                    <a:pt x="417" y="133"/>
                  </a:cubicBezTo>
                  <a:cubicBezTo>
                    <a:pt x="359" y="34"/>
                    <a:pt x="232" y="0"/>
                    <a:pt x="133" y="58"/>
                  </a:cubicBezTo>
                  <a:cubicBezTo>
                    <a:pt x="34" y="115"/>
                    <a:pt x="0" y="242"/>
                    <a:pt x="57" y="341"/>
                  </a:cubicBezTo>
                  <a:cubicBezTo>
                    <a:pt x="57" y="342"/>
                    <a:pt x="57" y="342"/>
                    <a:pt x="57" y="34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FA0D039D-30CC-5F35-EB2C-47F4E8CE4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752" y="3348583"/>
              <a:ext cx="1662924" cy="2300883"/>
            </a:xfrm>
            <a:custGeom>
              <a:avLst/>
              <a:gdLst>
                <a:gd name="T0" fmla="*/ 479 w 537"/>
                <a:gd name="T1" fmla="*/ 401 h 743"/>
                <a:gd name="T2" fmla="*/ 458 w 537"/>
                <a:gd name="T3" fmla="*/ 173 h 743"/>
                <a:gd name="T4" fmla="*/ 297 w 537"/>
                <a:gd name="T5" fmla="*/ 243 h 743"/>
                <a:gd name="T6" fmla="*/ 188 w 537"/>
                <a:gd name="T7" fmla="*/ 214 h 743"/>
                <a:gd name="T8" fmla="*/ 79 w 537"/>
                <a:gd name="T9" fmla="*/ 0 h 743"/>
                <a:gd name="T10" fmla="*/ 118 w 537"/>
                <a:gd name="T11" fmla="*/ 607 h 743"/>
                <a:gd name="T12" fmla="*/ 120 w 537"/>
                <a:gd name="T13" fmla="*/ 610 h 743"/>
                <a:gd name="T14" fmla="*/ 404 w 537"/>
                <a:gd name="T15" fmla="*/ 685 h 743"/>
                <a:gd name="T16" fmla="*/ 479 w 537"/>
                <a:gd name="T17" fmla="*/ 402 h 743"/>
                <a:gd name="T18" fmla="*/ 479 w 537"/>
                <a:gd name="T19" fmla="*/ 40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7" h="743">
                  <a:moveTo>
                    <a:pt x="479" y="401"/>
                  </a:moveTo>
                  <a:cubicBezTo>
                    <a:pt x="438" y="329"/>
                    <a:pt x="432" y="246"/>
                    <a:pt x="458" y="173"/>
                  </a:cubicBezTo>
                  <a:cubicBezTo>
                    <a:pt x="417" y="217"/>
                    <a:pt x="359" y="243"/>
                    <a:pt x="297" y="243"/>
                  </a:cubicBezTo>
                  <a:cubicBezTo>
                    <a:pt x="259" y="243"/>
                    <a:pt x="221" y="233"/>
                    <a:pt x="188" y="214"/>
                  </a:cubicBezTo>
                  <a:cubicBezTo>
                    <a:pt x="110" y="169"/>
                    <a:pt x="70" y="84"/>
                    <a:pt x="79" y="0"/>
                  </a:cubicBezTo>
                  <a:cubicBezTo>
                    <a:pt x="0" y="191"/>
                    <a:pt x="7" y="415"/>
                    <a:pt x="118" y="607"/>
                  </a:cubicBezTo>
                  <a:cubicBezTo>
                    <a:pt x="120" y="610"/>
                    <a:pt x="120" y="610"/>
                    <a:pt x="120" y="610"/>
                  </a:cubicBezTo>
                  <a:cubicBezTo>
                    <a:pt x="177" y="709"/>
                    <a:pt x="305" y="743"/>
                    <a:pt x="404" y="685"/>
                  </a:cubicBezTo>
                  <a:cubicBezTo>
                    <a:pt x="503" y="628"/>
                    <a:pt x="537" y="501"/>
                    <a:pt x="479" y="402"/>
                  </a:cubicBezTo>
                  <a:cubicBezTo>
                    <a:pt x="479" y="401"/>
                    <a:pt x="479" y="401"/>
                    <a:pt x="479" y="4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9D50192C-0513-3CD2-F5B3-4500F3829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317" y="4172486"/>
              <a:ext cx="1860964" cy="2114938"/>
            </a:xfrm>
            <a:custGeom>
              <a:avLst/>
              <a:gdLst>
                <a:gd name="T0" fmla="*/ 467 w 601"/>
                <a:gd name="T1" fmla="*/ 57 h 683"/>
                <a:gd name="T2" fmla="*/ 183 w 601"/>
                <a:gd name="T3" fmla="*/ 134 h 683"/>
                <a:gd name="T4" fmla="*/ 183 w 601"/>
                <a:gd name="T5" fmla="*/ 134 h 683"/>
                <a:gd name="T6" fmla="*/ 0 w 601"/>
                <a:gd name="T7" fmla="*/ 266 h 683"/>
                <a:gd name="T8" fmla="*/ 164 w 601"/>
                <a:gd name="T9" fmla="*/ 479 h 683"/>
                <a:gd name="T10" fmla="*/ 26 w 601"/>
                <a:gd name="T11" fmla="*/ 683 h 683"/>
                <a:gd name="T12" fmla="*/ 542 w 601"/>
                <a:gd name="T13" fmla="*/ 343 h 683"/>
                <a:gd name="T14" fmla="*/ 544 w 601"/>
                <a:gd name="T15" fmla="*/ 340 h 683"/>
                <a:gd name="T16" fmla="*/ 467 w 601"/>
                <a:gd name="T17" fmla="*/ 57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1" h="683">
                  <a:moveTo>
                    <a:pt x="467" y="57"/>
                  </a:moveTo>
                  <a:cubicBezTo>
                    <a:pt x="367" y="0"/>
                    <a:pt x="240" y="35"/>
                    <a:pt x="183" y="134"/>
                  </a:cubicBezTo>
                  <a:cubicBezTo>
                    <a:pt x="183" y="134"/>
                    <a:pt x="183" y="134"/>
                    <a:pt x="183" y="134"/>
                  </a:cubicBezTo>
                  <a:cubicBezTo>
                    <a:pt x="142" y="205"/>
                    <a:pt x="74" y="251"/>
                    <a:pt x="0" y="266"/>
                  </a:cubicBezTo>
                  <a:cubicBezTo>
                    <a:pt x="94" y="291"/>
                    <a:pt x="164" y="377"/>
                    <a:pt x="164" y="479"/>
                  </a:cubicBezTo>
                  <a:cubicBezTo>
                    <a:pt x="164" y="571"/>
                    <a:pt x="107" y="651"/>
                    <a:pt x="26" y="683"/>
                  </a:cubicBezTo>
                  <a:cubicBezTo>
                    <a:pt x="234" y="658"/>
                    <a:pt x="429" y="539"/>
                    <a:pt x="542" y="343"/>
                  </a:cubicBezTo>
                  <a:cubicBezTo>
                    <a:pt x="544" y="340"/>
                    <a:pt x="544" y="340"/>
                    <a:pt x="544" y="340"/>
                  </a:cubicBezTo>
                  <a:cubicBezTo>
                    <a:pt x="601" y="241"/>
                    <a:pt x="566" y="114"/>
                    <a:pt x="467" y="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FD08C90E-E8BC-3B6A-86A0-8D5BC129E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507" y="2028826"/>
              <a:ext cx="2344724" cy="1576754"/>
            </a:xfrm>
            <a:custGeom>
              <a:avLst/>
              <a:gdLst>
                <a:gd name="T0" fmla="*/ 412 w 757"/>
                <a:gd name="T1" fmla="*/ 392 h 509"/>
                <a:gd name="T2" fmla="*/ 514 w 757"/>
                <a:gd name="T3" fmla="*/ 258 h 509"/>
                <a:gd name="T4" fmla="*/ 624 w 757"/>
                <a:gd name="T5" fmla="*/ 228 h 509"/>
                <a:gd name="T6" fmla="*/ 757 w 757"/>
                <a:gd name="T7" fmla="*/ 273 h 509"/>
                <a:gd name="T8" fmla="*/ 211 w 757"/>
                <a:gd name="T9" fmla="*/ 0 h 509"/>
                <a:gd name="T10" fmla="*/ 207 w 757"/>
                <a:gd name="T11" fmla="*/ 0 h 509"/>
                <a:gd name="T12" fmla="*/ 0 w 757"/>
                <a:gd name="T13" fmla="*/ 208 h 509"/>
                <a:gd name="T14" fmla="*/ 207 w 757"/>
                <a:gd name="T15" fmla="*/ 416 h 509"/>
                <a:gd name="T16" fmla="*/ 208 w 757"/>
                <a:gd name="T17" fmla="*/ 416 h 509"/>
                <a:gd name="T18" fmla="*/ 413 w 757"/>
                <a:gd name="T19" fmla="*/ 509 h 509"/>
                <a:gd name="T20" fmla="*/ 412 w 757"/>
                <a:gd name="T21" fmla="*/ 392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09">
                  <a:moveTo>
                    <a:pt x="412" y="392"/>
                  </a:moveTo>
                  <a:cubicBezTo>
                    <a:pt x="427" y="335"/>
                    <a:pt x="463" y="287"/>
                    <a:pt x="514" y="258"/>
                  </a:cubicBezTo>
                  <a:cubicBezTo>
                    <a:pt x="547" y="239"/>
                    <a:pt x="585" y="228"/>
                    <a:pt x="624" y="228"/>
                  </a:cubicBezTo>
                  <a:cubicBezTo>
                    <a:pt x="673" y="228"/>
                    <a:pt x="719" y="244"/>
                    <a:pt x="757" y="273"/>
                  </a:cubicBezTo>
                  <a:cubicBezTo>
                    <a:pt x="632" y="108"/>
                    <a:pt x="434" y="1"/>
                    <a:pt x="211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93" y="0"/>
                    <a:pt x="0" y="93"/>
                    <a:pt x="0" y="208"/>
                  </a:cubicBezTo>
                  <a:cubicBezTo>
                    <a:pt x="0" y="323"/>
                    <a:pt x="93" y="416"/>
                    <a:pt x="207" y="416"/>
                  </a:cubicBezTo>
                  <a:cubicBezTo>
                    <a:pt x="208" y="416"/>
                    <a:pt x="208" y="416"/>
                    <a:pt x="208" y="416"/>
                  </a:cubicBezTo>
                  <a:cubicBezTo>
                    <a:pt x="290" y="416"/>
                    <a:pt x="363" y="452"/>
                    <a:pt x="413" y="509"/>
                  </a:cubicBezTo>
                  <a:cubicBezTo>
                    <a:pt x="402" y="471"/>
                    <a:pt x="401" y="431"/>
                    <a:pt x="412" y="39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881D2E47-D359-667C-36FB-CDF0AD85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721" y="2043943"/>
              <a:ext cx="1863988" cy="2111914"/>
            </a:xfrm>
            <a:custGeom>
              <a:avLst/>
              <a:gdLst>
                <a:gd name="T0" fmla="*/ 435 w 602"/>
                <a:gd name="T1" fmla="*/ 203 h 682"/>
                <a:gd name="T2" fmla="*/ 570 w 602"/>
                <a:gd name="T3" fmla="*/ 0 h 682"/>
                <a:gd name="T4" fmla="*/ 59 w 602"/>
                <a:gd name="T5" fmla="*/ 338 h 682"/>
                <a:gd name="T6" fmla="*/ 57 w 602"/>
                <a:gd name="T7" fmla="*/ 342 h 682"/>
                <a:gd name="T8" fmla="*/ 134 w 602"/>
                <a:gd name="T9" fmla="*/ 625 h 682"/>
                <a:gd name="T10" fmla="*/ 418 w 602"/>
                <a:gd name="T11" fmla="*/ 548 h 682"/>
                <a:gd name="T12" fmla="*/ 418 w 602"/>
                <a:gd name="T13" fmla="*/ 548 h 682"/>
                <a:gd name="T14" fmla="*/ 602 w 602"/>
                <a:gd name="T15" fmla="*/ 416 h 682"/>
                <a:gd name="T16" fmla="*/ 435 w 602"/>
                <a:gd name="T17" fmla="*/ 203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2" h="682">
                  <a:moveTo>
                    <a:pt x="435" y="203"/>
                  </a:moveTo>
                  <a:cubicBezTo>
                    <a:pt x="435" y="112"/>
                    <a:pt x="491" y="34"/>
                    <a:pt x="570" y="0"/>
                  </a:cubicBezTo>
                  <a:cubicBezTo>
                    <a:pt x="364" y="26"/>
                    <a:pt x="171" y="145"/>
                    <a:pt x="59" y="338"/>
                  </a:cubicBezTo>
                  <a:cubicBezTo>
                    <a:pt x="57" y="342"/>
                    <a:pt x="57" y="342"/>
                    <a:pt x="57" y="342"/>
                  </a:cubicBezTo>
                  <a:cubicBezTo>
                    <a:pt x="0" y="441"/>
                    <a:pt x="35" y="568"/>
                    <a:pt x="134" y="625"/>
                  </a:cubicBezTo>
                  <a:cubicBezTo>
                    <a:pt x="233" y="682"/>
                    <a:pt x="360" y="648"/>
                    <a:pt x="418" y="548"/>
                  </a:cubicBezTo>
                  <a:cubicBezTo>
                    <a:pt x="418" y="548"/>
                    <a:pt x="418" y="548"/>
                    <a:pt x="418" y="548"/>
                  </a:cubicBezTo>
                  <a:cubicBezTo>
                    <a:pt x="459" y="477"/>
                    <a:pt x="527" y="431"/>
                    <a:pt x="602" y="416"/>
                  </a:cubicBezTo>
                  <a:cubicBezTo>
                    <a:pt x="506" y="393"/>
                    <a:pt x="435" y="306"/>
                    <a:pt x="435" y="2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37B50971-00FF-4739-AD7E-4FF60707A202}"/>
              </a:ext>
            </a:extLst>
          </p:cNvPr>
          <p:cNvSpPr txBox="1"/>
          <p:nvPr/>
        </p:nvSpPr>
        <p:spPr>
          <a:xfrm>
            <a:off x="7735674" y="1488592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5433324-65B9-0562-B363-B22BEE83ED2D}"/>
              </a:ext>
            </a:extLst>
          </p:cNvPr>
          <p:cNvSpPr txBox="1"/>
          <p:nvPr/>
        </p:nvSpPr>
        <p:spPr>
          <a:xfrm>
            <a:off x="717434" y="3215814"/>
            <a:ext cx="2908435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2D820B-4DCD-08E7-8B2C-5EECD0CA3A8A}"/>
              </a:ext>
            </a:extLst>
          </p:cNvPr>
          <p:cNvSpPr txBox="1"/>
          <p:nvPr/>
        </p:nvSpPr>
        <p:spPr>
          <a:xfrm>
            <a:off x="7712927" y="508695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3E2D7EB-102D-BD5C-D814-A62728F89989}"/>
              </a:ext>
            </a:extLst>
          </p:cNvPr>
          <p:cNvSpPr txBox="1"/>
          <p:nvPr/>
        </p:nvSpPr>
        <p:spPr>
          <a:xfrm>
            <a:off x="1630283" y="5086953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1219019-9C87-8089-080A-F55FB6F2A183}"/>
              </a:ext>
            </a:extLst>
          </p:cNvPr>
          <p:cNvSpPr txBox="1"/>
          <p:nvPr/>
        </p:nvSpPr>
        <p:spPr>
          <a:xfrm>
            <a:off x="1179644" y="1488592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9CC6CCC-3C08-8C6A-86C9-87F45C11C390}"/>
              </a:ext>
            </a:extLst>
          </p:cNvPr>
          <p:cNvSpPr txBox="1"/>
          <p:nvPr/>
        </p:nvSpPr>
        <p:spPr>
          <a:xfrm>
            <a:off x="8247884" y="312063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7" name="Star: 4 Points 56">
            <a:extLst>
              <a:ext uri="{FF2B5EF4-FFF2-40B4-BE49-F238E27FC236}">
                <a16:creationId xmlns:a16="http://schemas.microsoft.com/office/drawing/2014/main" id="{636757C2-1330-1437-82EE-D9E433E8B36C}"/>
              </a:ext>
            </a:extLst>
          </p:cNvPr>
          <p:cNvSpPr/>
          <p:nvPr/>
        </p:nvSpPr>
        <p:spPr>
          <a:xfrm>
            <a:off x="4483075" y="22974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Star: 4 Points 57">
            <a:extLst>
              <a:ext uri="{FF2B5EF4-FFF2-40B4-BE49-F238E27FC236}">
                <a16:creationId xmlns:a16="http://schemas.microsoft.com/office/drawing/2014/main" id="{92B94E8A-81B1-1BBC-7129-E10DCC2B799A}"/>
              </a:ext>
            </a:extLst>
          </p:cNvPr>
          <p:cNvSpPr/>
          <p:nvPr/>
        </p:nvSpPr>
        <p:spPr>
          <a:xfrm>
            <a:off x="5790813" y="179724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Star: 4 Points 58">
            <a:extLst>
              <a:ext uri="{FF2B5EF4-FFF2-40B4-BE49-F238E27FC236}">
                <a16:creationId xmlns:a16="http://schemas.microsoft.com/office/drawing/2014/main" id="{05E05A62-303C-8EB4-2629-BD16E292A198}"/>
              </a:ext>
            </a:extLst>
          </p:cNvPr>
          <p:cNvSpPr/>
          <p:nvPr/>
        </p:nvSpPr>
        <p:spPr>
          <a:xfrm>
            <a:off x="7079352" y="26149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Star: 4 Points 59">
            <a:extLst>
              <a:ext uri="{FF2B5EF4-FFF2-40B4-BE49-F238E27FC236}">
                <a16:creationId xmlns:a16="http://schemas.microsoft.com/office/drawing/2014/main" id="{28F4F0B3-57B5-FC16-8E54-057E3458B3E3}"/>
              </a:ext>
            </a:extLst>
          </p:cNvPr>
          <p:cNvSpPr/>
          <p:nvPr/>
        </p:nvSpPr>
        <p:spPr>
          <a:xfrm>
            <a:off x="6761852" y="417595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tar: 4 Points 60">
            <a:extLst>
              <a:ext uri="{FF2B5EF4-FFF2-40B4-BE49-F238E27FC236}">
                <a16:creationId xmlns:a16="http://schemas.microsoft.com/office/drawing/2014/main" id="{6A73CF16-FD1D-E0AD-E7F0-483FB13C3689}"/>
              </a:ext>
            </a:extLst>
          </p:cNvPr>
          <p:cNvSpPr/>
          <p:nvPr/>
        </p:nvSpPr>
        <p:spPr>
          <a:xfrm>
            <a:off x="5394469" y="4689965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Star: 4 Points 61">
            <a:extLst>
              <a:ext uri="{FF2B5EF4-FFF2-40B4-BE49-F238E27FC236}">
                <a16:creationId xmlns:a16="http://schemas.microsoft.com/office/drawing/2014/main" id="{5985E3C7-1184-7A95-F2FC-BDEBB443EF3D}"/>
              </a:ext>
            </a:extLst>
          </p:cNvPr>
          <p:cNvSpPr/>
          <p:nvPr/>
        </p:nvSpPr>
        <p:spPr>
          <a:xfrm>
            <a:off x="4257010" y="3872198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249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129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3</cp:revision>
  <dcterms:created xsi:type="dcterms:W3CDTF">2021-03-31T02:49:57Z</dcterms:created>
  <dcterms:modified xsi:type="dcterms:W3CDTF">2025-10-16T10:56:51Z</dcterms:modified>
  <cp:category/>
</cp:coreProperties>
</file>